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8"/>
    <p:sldMasterId id="2147483663" r:id="rId9"/>
    <p:sldMasterId id="2147483691" r:id="rId10"/>
    <p:sldMasterId id="2147483739" r:id="rId11"/>
    <p:sldMasterId id="2147483793" r:id="rId12"/>
  </p:sldMasterIdLst>
  <p:notesMasterIdLst>
    <p:notesMasterId r:id="rId26"/>
  </p:notesMasterIdLst>
  <p:handoutMasterIdLst>
    <p:handoutMasterId r:id="rId27"/>
  </p:handoutMasterIdLst>
  <p:sldIdLst>
    <p:sldId id="284" r:id="rId13"/>
    <p:sldId id="288" r:id="rId14"/>
    <p:sldId id="286" r:id="rId15"/>
    <p:sldId id="303" r:id="rId16"/>
    <p:sldId id="305" r:id="rId17"/>
    <p:sldId id="290" r:id="rId18"/>
    <p:sldId id="291" r:id="rId19"/>
    <p:sldId id="325" r:id="rId20"/>
    <p:sldId id="327" r:id="rId21"/>
    <p:sldId id="292" r:id="rId22"/>
    <p:sldId id="317" r:id="rId23"/>
    <p:sldId id="313" r:id="rId24"/>
    <p:sldId id="296" r:id="rId25"/>
  </p:sldIdLst>
  <p:sldSz cx="9906000" cy="6858000" type="A4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DBEE9"/>
    <a:srgbClr val="CCCCFF"/>
    <a:srgbClr val="F9401B"/>
    <a:srgbClr val="FF1919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1" autoAdjust="0"/>
    <p:restoredTop sz="99086" autoAdjust="0"/>
  </p:normalViewPr>
  <p:slideViewPr>
    <p:cSldViewPr snapToGrid="0">
      <p:cViewPr>
        <p:scale>
          <a:sx n="80" d="100"/>
          <a:sy n="80" d="100"/>
        </p:scale>
        <p:origin x="-696" y="-7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399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2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7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0"/>
      <c:rotY val="0"/>
      <c:depthPercent val="100"/>
      <c:rAngAx val="1"/>
    </c:view3D>
    <c:floor>
      <c:thickness val="0"/>
    </c:floor>
    <c:sideWall>
      <c:thickness val="0"/>
      <c:spPr>
        <a:scene3d>
          <a:camera prst="orthographicFront"/>
          <a:lightRig rig="threePt" dir="t"/>
        </a:scene3d>
        <a:sp3d prstMaterial="metal"/>
      </c:spPr>
    </c:sideWall>
    <c:backWall>
      <c:thickness val="0"/>
      <c:spPr>
        <a:scene3d>
          <a:camera prst="orthographicFront"/>
          <a:lightRig rig="threePt" dir="t"/>
        </a:scene3d>
        <a:sp3d prstMaterial="metal"/>
      </c:spPr>
    </c:backWall>
    <c:plotArea>
      <c:layout>
        <c:manualLayout>
          <c:layoutTarget val="inner"/>
          <c:xMode val="edge"/>
          <c:yMode val="edge"/>
          <c:x val="1.02923966478693E-2"/>
          <c:y val="0.13788183930396486"/>
          <c:w val="0.98970765722222742"/>
          <c:h val="0.76075015350976816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рушение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 prstMaterial="metal"/>
          </c:spPr>
          <c:invertIfNegative val="0"/>
          <c:dLbls>
            <c:dLbl>
              <c:idx val="0"/>
              <c:layout>
                <c:manualLayout>
                  <c:x val="1.4025254735069565E-3"/>
                  <c:y val="2.6621947384970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1425339958672901E-17"/>
                  <c:y val="2.32942039618488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2.6621947384970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0082402121610315E-16"/>
                  <c:y val="2.90945560343840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обытия</c:v>
                </c:pt>
              </c:strCache>
            </c:strRef>
          </c:tx>
          <c:spPr>
            <a:solidFill>
              <a:srgbClr val="0070C0"/>
            </a:solidFill>
            <a:scene3d>
              <a:camera prst="orthographicFront"/>
              <a:lightRig rig="threePt" dir="t"/>
            </a:scene3d>
            <a:sp3d prstMaterial="metal"/>
          </c:spPr>
          <c:invertIfNegative val="0"/>
          <c:dLbls>
            <c:dLbl>
              <c:idx val="0"/>
              <c:layout>
                <c:manualLayout>
                  <c:x val="-4.3034340670566199E-3"/>
                  <c:y val="6.98826118855465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4.2075764205208692E-3"/>
                  <c:y val="4.99161513468189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4.2075764205208692E-3"/>
                  <c:y val="6.65548684624253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5.6101018940278259E-3"/>
                  <c:y val="5.98993816161827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5</c:v>
                </c:pt>
                <c:pt idx="1">
                  <c:v>17</c:v>
                </c:pt>
                <c:pt idx="2">
                  <c:v>19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 prstMaterial="metal"/>
          </c:spPr>
          <c:invertIfNegative val="0"/>
          <c:dLbls>
            <c:dLbl>
              <c:idx val="0"/>
              <c:layout>
                <c:manualLayout>
                  <c:x val="2.2400650948516086E-3"/>
                  <c:y val="8.7126349439262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1543674753680083E-3"/>
                  <c:y val="8.22198930929671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4.9088391572743471E-3"/>
                  <c:y val="8.65213290011529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8.31935855780316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74</c:v>
                </c:pt>
                <c:pt idx="1">
                  <c:v>71</c:v>
                </c:pt>
                <c:pt idx="2">
                  <c:v>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98667136"/>
        <c:axId val="98902400"/>
        <c:axId val="0"/>
      </c:bar3DChart>
      <c:catAx>
        <c:axId val="98667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8902400"/>
        <c:crosses val="autoZero"/>
        <c:auto val="1"/>
        <c:lblAlgn val="ctr"/>
        <c:lblOffset val="100"/>
        <c:noMultiLvlLbl val="0"/>
      </c:catAx>
      <c:valAx>
        <c:axId val="989024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8667136"/>
        <c:crosses val="autoZero"/>
        <c:crossBetween val="between"/>
      </c:valAx>
      <c:spPr>
        <a:noFill/>
        <a:ln w="17414">
          <a:noFill/>
        </a:ln>
      </c:spPr>
    </c:plotArea>
    <c:legend>
      <c:legendPos val="b"/>
      <c:layout>
        <c:manualLayout>
          <c:xMode val="edge"/>
          <c:yMode val="edge"/>
          <c:x val="0.33002586095096897"/>
          <c:y val="0.92354679802955675"/>
          <c:w val="0.32683614328023541"/>
          <c:h val="6.3453254375851587E-2"/>
        </c:manualLayout>
      </c:layout>
      <c:overlay val="0"/>
      <c:txPr>
        <a:bodyPr/>
        <a:lstStyle/>
        <a:p>
          <a:pPr>
            <a:defRPr sz="1192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490" b="1">
          <a:latin typeface="Times New Roman" pitchFamily="18" charset="0"/>
          <a:cs typeface="Times New Roman" pitchFamily="18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DEAC4F-317D-4B56-BD08-8735B1557E6A}" type="datetimeFigureOut">
              <a:rPr lang="ru-RU" smtClean="0"/>
              <a:t>23.07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DB13EE-398F-4000-BD95-59E70E20B31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974311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D5C910-172E-465E-9F6E-4BED48F9819A}" type="datetimeFigureOut">
              <a:rPr lang="ru-RU" smtClean="0"/>
              <a:t>23.07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63613" y="1233488"/>
            <a:ext cx="48085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448EFA-47DC-4E98-965E-B1764BF6721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9491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448EFA-47DC-4E98-965E-B1764BF6721D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1690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FC269-A52F-4DFF-98B1-D731D4FFFBC8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6586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FC269-A52F-4DFF-98B1-D731D4FFFBC8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581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FC269-A52F-4DFF-98B1-D731D4FFFBC8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9969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4FC269-A52F-4DFF-98B1-D731D4FFFBC8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9969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448EFA-47DC-4E98-965E-B1764BF6721D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82280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86926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6570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9006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62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3188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906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79072" y="0"/>
            <a:ext cx="8998952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669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6820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409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83" y="170975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83" y="4589508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6908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7909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1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6905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0347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870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7294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41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6548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41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3152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693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9005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61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433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0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906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79072" y="0"/>
            <a:ext cx="8998952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4112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4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906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79073" y="0"/>
            <a:ext cx="8998952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5365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7728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5660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83" y="1709753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83" y="4589496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2919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0389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83" y="170975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83" y="4589510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61212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1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1726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1077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3873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41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1542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41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9911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4727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98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54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2117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5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906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79072" y="0"/>
            <a:ext cx="8998952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4582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99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906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79073" y="0"/>
            <a:ext cx="8998952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5625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313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4648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7378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83" y="170974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83" y="4589502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9872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11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1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5732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7109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6124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3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5173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3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8826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38935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9001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57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812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1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68364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1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906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79072" y="0"/>
            <a:ext cx="8998952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6208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55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906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79073" y="0"/>
            <a:ext cx="8998952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00038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3442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9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83" y="170975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83" y="4589510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4688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6691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1" y="365129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6674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7684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2927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4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445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10480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4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9459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5926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9006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62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4296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3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906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79072" y="0"/>
            <a:ext cx="8998952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08754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3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7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3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906000" cy="830996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79073" y="0"/>
            <a:ext cx="8998952" cy="792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290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75181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4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7457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32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4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32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2934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97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9" y="6356397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97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229C6-4CB7-4715-9D33-C1CA5325DE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0973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95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9" y="6356395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95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011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8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9" y="635638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8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203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89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9" y="6356389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89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424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97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9" y="6356397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97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229C6-4CB7-4715-9D33-C1CA5325DEB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536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customXml" Target="../../customXml/item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customXml" Target="../../customXml/item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4.xml"/><Relationship Id="rId1" Type="http://schemas.openxmlformats.org/officeDocument/2006/relationships/customXml" Target="../../customXml/item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7.xml"/><Relationship Id="rId1" Type="http://schemas.openxmlformats.org/officeDocument/2006/relationships/customXml" Target="../../customXml/item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3727" y="542971"/>
            <a:ext cx="8813800" cy="6122993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АО </a:t>
            </a:r>
            <a:r>
              <a:rPr lang="ru-RU" sz="3600" b="1" dirty="0">
                <a:latin typeface="Times New Roman" pitchFamily="18" charset="0"/>
                <a:cs typeface="Times New Roman" pitchFamily="18" charset="0"/>
              </a:rPr>
              <a:t>«НК «</a:t>
            </a:r>
            <a:r>
              <a:rPr lang="kk-KZ" sz="3600" b="1" dirty="0">
                <a:latin typeface="Times New Roman" pitchFamily="18" charset="0"/>
                <a:cs typeface="Times New Roman" pitchFamily="18" charset="0"/>
              </a:rPr>
              <a:t>Қазақстан темір жолы</a:t>
            </a:r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br>
              <a:rPr lang="ru-RU" sz="36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3600" b="1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600" b="1" dirty="0">
                <a:latin typeface="Times New Roman" pitchFamily="18" charset="0"/>
                <a:cs typeface="Times New Roman" pitchFamily="18" charset="0"/>
              </a:rPr>
            </a:br>
            <a:r>
              <a:rPr lang="ru-RU" sz="40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40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700" b="1" dirty="0" smtClean="0"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2700" b="1" dirty="0">
                <a:latin typeface="Times New Roman" pitchFamily="18" charset="0"/>
                <a:cs typeface="Times New Roman" pitchFamily="18" charset="0"/>
              </a:rPr>
              <a:t>ДЕЯТЕЛЬНОСТИ </a:t>
            </a:r>
            <a:r>
              <a:rPr lang="ru-RU" sz="27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7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700" b="1" dirty="0" smtClean="0">
                <a:latin typeface="Times New Roman" pitchFamily="18" charset="0"/>
                <a:cs typeface="Times New Roman" pitchFamily="18" charset="0"/>
              </a:rPr>
              <a:t>ЗА ПЕРВОЕ ПОЛУГОДИЕ 2020 ГОДА </a:t>
            </a:r>
            <a:r>
              <a:rPr lang="ru-RU" sz="2700" b="1" dirty="0">
                <a:latin typeface="Times New Roman" pitchFamily="18" charset="0"/>
                <a:cs typeface="Times New Roman" pitchFamily="18" charset="0"/>
              </a:rPr>
              <a:t>И</a:t>
            </a:r>
            <a:br>
              <a:rPr lang="ru-RU" sz="2700" b="1" dirty="0">
                <a:latin typeface="Times New Roman" pitchFamily="18" charset="0"/>
                <a:cs typeface="Times New Roman" pitchFamily="18" charset="0"/>
              </a:rPr>
            </a:br>
            <a:r>
              <a:rPr lang="ru-RU" sz="2700" b="1" dirty="0">
                <a:latin typeface="Times New Roman" pitchFamily="18" charset="0"/>
                <a:cs typeface="Times New Roman" pitchFamily="18" charset="0"/>
              </a:rPr>
              <a:t>ОСНОВНЫЕ ЗАДАЧИ </a:t>
            </a:r>
            <a:r>
              <a:rPr lang="ru-RU" sz="27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7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700" b="1" dirty="0" smtClean="0">
                <a:latin typeface="Times New Roman" pitchFamily="18" charset="0"/>
                <a:cs typeface="Times New Roman" pitchFamily="18" charset="0"/>
              </a:rPr>
              <a:t>НА ВТОРОЕ ПОЛУГОДИЕ 2020 ГОДА</a:t>
            </a:r>
            <a:r>
              <a:rPr lang="ru-RU" sz="2700" b="1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700" b="1" dirty="0">
                <a:latin typeface="Times New Roman" pitchFamily="18" charset="0"/>
                <a:cs typeface="Times New Roman" pitchFamily="18" charset="0"/>
              </a:rPr>
            </a:br>
            <a:r>
              <a:rPr lang="ru-RU" sz="40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4000" b="1" dirty="0" smtClean="0">
                <a:latin typeface="Arial" pitchFamily="34" charset="0"/>
                <a:cs typeface="Arial" pitchFamily="34" charset="0"/>
              </a:rPr>
            </a:br>
            <a:r>
              <a:rPr lang="ru-RU" sz="4000" b="1" dirty="0">
                <a:latin typeface="Arial" pitchFamily="34" charset="0"/>
                <a:cs typeface="Arial" pitchFamily="34" charset="0"/>
              </a:rPr>
              <a:t/>
            </a:r>
            <a:br>
              <a:rPr lang="ru-RU" sz="4000" b="1" dirty="0">
                <a:latin typeface="Arial" pitchFamily="34" charset="0"/>
                <a:cs typeface="Arial" pitchFamily="34" charset="0"/>
              </a:rPr>
            </a:br>
            <a:r>
              <a:rPr lang="ru-RU" sz="40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4000" b="1" dirty="0" smtClean="0">
                <a:latin typeface="Arial" pitchFamily="34" charset="0"/>
                <a:cs typeface="Arial" pitchFamily="34" charset="0"/>
              </a:rPr>
            </a:br>
            <a:r>
              <a:rPr lang="ru-RU" sz="4000" b="1" dirty="0">
                <a:latin typeface="Arial" pitchFamily="34" charset="0"/>
                <a:cs typeface="Arial" pitchFamily="34" charset="0"/>
              </a:rPr>
              <a:t/>
            </a:r>
            <a:br>
              <a:rPr lang="ru-RU" sz="4000" b="1" dirty="0">
                <a:latin typeface="Arial" pitchFamily="34" charset="0"/>
                <a:cs typeface="Arial" pitchFamily="34" charset="0"/>
              </a:rPr>
            </a:br>
            <a:r>
              <a:rPr lang="ru-RU" sz="40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4000" b="1" dirty="0" smtClean="0">
                <a:latin typeface="Arial" pitchFamily="34" charset="0"/>
                <a:cs typeface="Arial" pitchFamily="34" charset="0"/>
              </a:rPr>
            </a:b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Нур-Султан</a:t>
            </a:r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800" b="1" dirty="0"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29.07.2020</a:t>
            </a:r>
            <a:endParaRPr lang="ru-RU" sz="1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2"/>
          <p:cNvSpPr txBox="1">
            <a:spLocks/>
          </p:cNvSpPr>
          <p:nvPr/>
        </p:nvSpPr>
        <p:spPr>
          <a:xfrm>
            <a:off x="9271000" y="648340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ru-RU" sz="1400" dirty="0">
              <a:latin typeface="Arial" pitchFamily="34" charset="0"/>
              <a:cs typeface="Arial" pitchFamily="34" charset="0"/>
            </a:endParaRPr>
          </a:p>
          <a:p>
            <a:pPr algn="r"/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3" descr="D:\For prezentations\kz_icons\Map1 copy.png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rcRect l="2679" r="3432"/>
          <a:stretch/>
        </p:blipFill>
        <p:spPr bwMode="auto">
          <a:xfrm>
            <a:off x="5345714" y="4472430"/>
            <a:ext cx="4320480" cy="2111027"/>
          </a:xfrm>
          <a:prstGeom prst="rect">
            <a:avLst/>
          </a:prstGeom>
          <a:noFill/>
          <a:scene3d>
            <a:camera prst="orthographicFront">
              <a:rot lat="0" lon="0" rev="0"/>
            </a:camera>
            <a:lightRig rig="threePt" dir="t"/>
          </a:scene3d>
          <a:ex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>
            <a:extLst/>
          </a:blip>
          <a:srcRect/>
          <a:stretch>
            <a:fillRect/>
          </a:stretch>
        </p:blipFill>
        <p:spPr bwMode="auto">
          <a:xfrm>
            <a:off x="6732247" y="2904722"/>
            <a:ext cx="2327517" cy="2790506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EEECE1"/>
            </a:outerShdw>
            <a:softEdge rad="635000"/>
          </a:effectLst>
          <a:scene3d>
            <a:camera prst="obliqueTopRight"/>
            <a:lightRig rig="threePt" dir="t"/>
          </a:scene3d>
          <a:extLst/>
        </p:spPr>
      </p:pic>
    </p:spTree>
    <p:extLst>
      <p:ext uri="{BB962C8B-B14F-4D97-AF65-F5344CB8AC3E}">
        <p14:creationId xmlns:p14="http://schemas.microsoft.com/office/powerpoint/2010/main" val="1048321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5864" y="1299003"/>
            <a:ext cx="92846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319" algn="ctr"/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сновные финансово-экономические показатели монопольной деятельности  за 2019 год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75846" y="162711"/>
            <a:ext cx="97301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3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О работе с потребителями услуг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11321" y="898182"/>
            <a:ext cx="9691275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Заключены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оговора н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казание услуг МЖС в пассажирском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вижении - 12,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рузовом - 3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i="1" dirty="0">
                <a:latin typeface="Times New Roman" pitchFamily="18" charset="0"/>
                <a:cs typeface="Times New Roman" pitchFamily="18" charset="0"/>
              </a:rPr>
              <a:t>130 станциях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ведена цифровая оперативно-технологическая связь (ОТС), обеспечивающая повышение стабильности связи и безопасности движения поездов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Завершена 4-х летняя программа по замене светофорных линзовых комплектов на светодиодные модули на всех перегонах, всего 8 124 светофоров, в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т.ч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280 светофоров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 Произведен перенос оборудования сигнализации, централизации и блокировки из аварийных постов электрической централизации (ЭЦ) в модули по 3 станциям, использованием 4 модулей при плане 5 станций и 8 модулей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ыполнена ревизия 5 299 км контактной сети, текущий ремонт 3 597 км воздушных линий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а 5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вокзалах (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I, II, III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класса и вне классные вокзалы) выполнены требования Главного государственного санитарного врача на транспорте  по профилактике предотвращения 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COVID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19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Завершены работы по удлинению пассажирской платформы ст. Жаланашколь и в п.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Коктума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недрена цифровая технологическая радиосвязь на 229 региональных структурных подразделениях Компании, в том числе ВП и НОРПОЖ ,ПЧ, ШЧ. Оборудования мобильной радиосвязи обеспечивает в процессе производства технологических и аварийно-восстановительных работ максимальную оперативность персонала, безопасность на местах реализации  работ.</a:t>
            </a:r>
          </a:p>
          <a:p>
            <a:pPr marL="0" lvl="1" algn="just">
              <a:lnSpc>
                <a:spcPct val="150000"/>
              </a:lnSpc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55600" lvl="1" indent="-355600" algn="just">
              <a:lnSpc>
                <a:spcPct val="150000"/>
              </a:lnSpc>
              <a:buFont typeface="Wingdings" pitchFamily="2" charset="2"/>
              <a:buChar char="v"/>
            </a:pPr>
            <a:endParaRPr lang="ru-RU" sz="1600" dirty="0">
              <a:solidFill>
                <a:srgbClr val="002060"/>
              </a:solidFill>
              <a:latin typeface="AvenirNext-Bold"/>
              <a:ea typeface="+mj-ea"/>
              <a:cs typeface="+mj-cs"/>
            </a:endParaRPr>
          </a:p>
        </p:txBody>
      </p:sp>
      <p:sp>
        <p:nvSpPr>
          <p:cNvPr id="5" name="Номер слайда 2"/>
          <p:cNvSpPr txBox="1">
            <a:spLocks/>
          </p:cNvSpPr>
          <p:nvPr/>
        </p:nvSpPr>
        <p:spPr>
          <a:xfrm>
            <a:off x="9271000" y="648339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0</a:t>
            </a:r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757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13330" y="217683"/>
            <a:ext cx="9079409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3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О перспективах </a:t>
            </a:r>
            <a:r>
              <a:rPr lang="ru-RU" sz="23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деятельности на 2 полугодие 2020года и 2021 год </a:t>
            </a:r>
            <a:endParaRPr lang="ru-RU" sz="23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6493" y="985090"/>
            <a:ext cx="9673074" cy="615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Завершение отработки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опросов технологического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заимодействия с учетом определения функций 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Оператора инфраструктуры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, адаптации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информационных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истем и изменению системы тарифного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егулирования </a:t>
            </a:r>
            <a:r>
              <a:rPr lang="ru-RU" sz="1600" b="1" i="1" dirty="0">
                <a:latin typeface="Times New Roman" pitchFamily="18" charset="0"/>
                <a:cs typeface="Times New Roman" pitchFamily="18" charset="0"/>
              </a:rPr>
              <a:t>в условиях  множества 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перевозчиков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55600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азвитие железнодорожного участка Достык – Мойынты и станции Достык.</a:t>
            </a:r>
          </a:p>
          <a:p>
            <a:pPr marL="355600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 рамках перезагрузки проекта «АСУ-Магистраль» улучшение автоматизации обработки и передачи данных МДК в режиме онлайн, усиление контроля на сетевом и региональном уровне за устранением отступлений выявляемых МД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600" dirty="0">
              <a:latin typeface="Arial" pitchFamily="34" charset="0"/>
              <a:cs typeface="Arial" pitchFamily="34" charset="0"/>
            </a:endParaRPr>
          </a:p>
          <a:p>
            <a:pPr marL="357188" indent="-357188" algn="just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v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еализация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дорожной карты по совершенствованию корпоративной системы управления </a:t>
            </a:r>
            <a:r>
              <a:rPr lang="ru-RU" sz="1600" b="1" i="1" dirty="0">
                <a:latin typeface="Times New Roman" pitchFamily="18" charset="0"/>
                <a:cs typeface="Times New Roman" pitchFamily="18" charset="0"/>
              </a:rPr>
              <a:t>производственной безопасностью в рамках стратегии «Нулевого травматизма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».</a:t>
            </a:r>
            <a:endParaRPr lang="ru-RU" sz="1600" b="1" i="1" dirty="0">
              <a:latin typeface="Times New Roman" pitchFamily="18" charset="0"/>
              <a:cs typeface="Times New Roman" pitchFamily="18" charset="0"/>
            </a:endParaRPr>
          </a:p>
          <a:p>
            <a:pPr marL="355600" indent="-355600" algn="just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v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должение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недрения передовых ресурсосберегающих технологий, позволяющих повторно применять материалы верхнего строения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ути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355600" lvl="0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ыполнение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изводственной программы по оздоровлению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ути 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6 251,2 км,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 том числе с применением комплексов путевых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машин 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5000 км,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екущего и капитального ремонта искусственных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ооружений.</a:t>
            </a:r>
          </a:p>
          <a:p>
            <a:pPr marL="355600" lvl="0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Дальнейшая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еализация проектов программы </a:t>
            </a:r>
            <a:r>
              <a:rPr lang="ru-RU" sz="1600" b="1" i="1" dirty="0">
                <a:latin typeface="Times New Roman" pitchFamily="18" charset="0"/>
                <a:cs typeface="Times New Roman" pitchFamily="18" charset="0"/>
              </a:rPr>
              <a:t>«Цифровая трансформация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».</a:t>
            </a:r>
            <a:endParaRPr lang="ru-RU" sz="1600" b="1" i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Wingdings" pitchFamily="2" charset="2"/>
              <a:buChar char="v"/>
            </a:pPr>
            <a:endParaRPr lang="ru-RU" sz="16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Номер слайда 2"/>
          <p:cNvSpPr txBox="1">
            <a:spLocks/>
          </p:cNvSpPr>
          <p:nvPr/>
        </p:nvSpPr>
        <p:spPr>
          <a:xfrm>
            <a:off x="9271000" y="648339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1</a:t>
            </a:r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773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91876" y="65278"/>
            <a:ext cx="8922314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3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О перспективах деятельности на 2 полугодие 2020года и 2021 год </a:t>
            </a:r>
            <a:endParaRPr lang="ru-RU" sz="2300" b="1" dirty="0" smtClean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(продолжение)</a:t>
            </a:r>
            <a:endParaRPr lang="ru-RU" sz="23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6464" y="1176175"/>
            <a:ext cx="967307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тремонтировать здания вокзалов Кокшетау, Семей, пассажирские платформы вокзалов Жаланашколь, пос. Коктума, продолжить работу по созданию безбарьерного доступа инвалидов к услугам вокзалов.  </a:t>
            </a:r>
          </a:p>
          <a:p>
            <a:pPr marL="355600" indent="-355600" algn="just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еализация пилотного проекта по созданию Западного Центра управление движением поездов.</a:t>
            </a:r>
          </a:p>
        </p:txBody>
      </p:sp>
      <p:sp>
        <p:nvSpPr>
          <p:cNvPr id="5" name="Номер слайда 2"/>
          <p:cNvSpPr txBox="1">
            <a:spLocks/>
          </p:cNvSpPr>
          <p:nvPr/>
        </p:nvSpPr>
        <p:spPr>
          <a:xfrm>
            <a:off x="9271000" y="648339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2</a:t>
            </a:r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078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37492" y="2736549"/>
            <a:ext cx="8001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БЛАГОДАРЮ ЗА ВНИМАНИЕ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99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/>
          <p:cNvSpPr txBox="1">
            <a:spLocks/>
          </p:cNvSpPr>
          <p:nvPr>
            <p:custDataLst>
              <p:custData r:id="rId1"/>
            </p:custDataLst>
          </p:nvPr>
        </p:nvSpPr>
        <p:spPr>
          <a:xfrm>
            <a:off x="1095655" y="174026"/>
            <a:ext cx="7467526" cy="572821"/>
          </a:xfrm>
          <a:prstGeom prst="rect">
            <a:avLst/>
          </a:prstGeom>
        </p:spPr>
        <p:txBody>
          <a:bodyPr vert="horz" wrap="square" lIns="0" tIns="107005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319" algn="ctr"/>
            <a:r>
              <a:rPr lang="ru-RU" sz="2300" b="1" dirty="0">
                <a:solidFill>
                  <a:schemeClr val="bg1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СОДЕРЖАНИЕ ОТЧЕТА за </a:t>
            </a:r>
            <a:r>
              <a:rPr lang="ru-RU" sz="2300" b="1" dirty="0" smtClean="0">
                <a:solidFill>
                  <a:schemeClr val="bg1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первое полугодие 2020 года</a:t>
            </a:r>
            <a:endParaRPr lang="ru-RU" sz="2300" b="1" dirty="0">
              <a:solidFill>
                <a:schemeClr val="bg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22033" y="1463772"/>
            <a:ext cx="916462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б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бъемах предоставленных регулируемых услуг (товаров, раб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);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б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сновных финансово-экономических показателях монопольной деятельности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;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остатейном исполнении тарифной сметы на услуг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магистральной железнодорожной сети з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полугодие 2020 года;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б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исполнении инвестиционной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граммы за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олугодие 2020 года;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ачестве предоставляемых услуг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роводимой работе с потребителями регулируемых услуг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ерспективах деятельности (планы развития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)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Номер слайда 2"/>
          <p:cNvSpPr txBox="1">
            <a:spLocks/>
          </p:cNvSpPr>
          <p:nvPr/>
        </p:nvSpPr>
        <p:spPr>
          <a:xfrm>
            <a:off x="9271000" y="648340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9B229C6-4CB7-4715-9D33-C1CA5325DEB0}" type="slidenum">
              <a:rPr lang="ru-RU" sz="14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r"/>
              <a:t>2</a:t>
            </a:fld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9553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/>
          <p:cNvSpPr txBox="1">
            <a:spLocks/>
          </p:cNvSpPr>
          <p:nvPr>
            <p:custDataLst>
              <p:custData r:id="rId1"/>
            </p:custDataLst>
          </p:nvPr>
        </p:nvSpPr>
        <p:spPr>
          <a:xfrm>
            <a:off x="132103" y="138479"/>
            <a:ext cx="9248309" cy="572821"/>
          </a:xfrm>
          <a:prstGeom prst="rect">
            <a:avLst/>
          </a:prstGeom>
        </p:spPr>
        <p:txBody>
          <a:bodyPr vert="horz" wrap="square" lIns="0" tIns="107005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319" algn="ctr"/>
            <a:r>
              <a:rPr lang="ru-RU" sz="2300" b="1" dirty="0" smtClean="0">
                <a:solidFill>
                  <a:prstClr val="white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ПЕРЕЧЕНЬ РЕГУЛИРУЕМЫХ УСЛУГ</a:t>
            </a:r>
            <a:endParaRPr lang="ru-RU" sz="2300" b="1" dirty="0">
              <a:solidFill>
                <a:prstClr val="white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24206" y="1331823"/>
            <a:ext cx="9162479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1200"/>
              </a:spcBef>
              <a:spcAft>
                <a:spcPts val="1200"/>
              </a:spcAft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О «НК «КТЖ», как субъект естественной монополии оказывает следующие услуги:</a:t>
            </a:r>
          </a:p>
          <a:p>
            <a:pPr algn="just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.Услуги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магистральной железнодорожной сети.</a:t>
            </a: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Услуги подъездных путей,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ключающие:</a:t>
            </a:r>
          </a:p>
          <a:p>
            <a:pPr>
              <a:lnSpc>
                <a:spcPct val="150000"/>
              </a:lnSpc>
            </a:pPr>
            <a:r>
              <a:rPr lang="ru-RU" sz="1600" i="1" dirty="0" smtClean="0">
                <a:latin typeface="Times New Roman" pitchFamily="18" charset="0"/>
                <a:cs typeface="Times New Roman" pitchFamily="18" charset="0"/>
              </a:rPr>
              <a:t>2.1</a:t>
            </a:r>
            <a:r>
              <a:rPr lang="ru-RU" sz="1600" i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i="1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1600" i="1" dirty="0">
                <a:latin typeface="Times New Roman" pitchFamily="18" charset="0"/>
                <a:cs typeface="Times New Roman" pitchFamily="18" charset="0"/>
              </a:rPr>
              <a:t>для проезда подвижного состава;</a:t>
            </a:r>
          </a:p>
          <a:p>
            <a:pPr algn="just">
              <a:lnSpc>
                <a:spcPct val="150000"/>
              </a:lnSpc>
            </a:pPr>
            <a:r>
              <a:rPr lang="ru-RU" sz="1600" i="1" dirty="0" smtClean="0">
                <a:latin typeface="Times New Roman" pitchFamily="18" charset="0"/>
                <a:cs typeface="Times New Roman" pitchFamily="18" charset="0"/>
              </a:rPr>
              <a:t>2.2 </a:t>
            </a:r>
            <a:r>
              <a:rPr lang="ru-RU" sz="1600" i="1" dirty="0">
                <a:latin typeface="Times New Roman" pitchFamily="18" charset="0"/>
                <a:cs typeface="Times New Roman" pitchFamily="18" charset="0"/>
              </a:rPr>
              <a:t>для маневровых работ, погрузки-выгрузки, других технологических операций перевозочного процесса, а также для стоянки подвижного состава, непредусмотренной технологическими операциями перевозочного процесса.</a:t>
            </a:r>
          </a:p>
          <a:p>
            <a:pPr algn="just"/>
            <a:endParaRPr lang="ru-RU" sz="1600" i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3.  Услуги по передаче электрической энергии. </a:t>
            </a:r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>
          <a:xfrm>
            <a:off x="9271000" y="648340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9B229C6-4CB7-4715-9D33-C1CA5325DEB0}" type="slidenum">
              <a:rPr lang="ru-RU" sz="14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r"/>
              <a:t>3</a:t>
            </a:fld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225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/>
          <p:cNvSpPr txBox="1">
            <a:spLocks/>
          </p:cNvSpPr>
          <p:nvPr>
            <p:custDataLst>
              <p:custData r:id="rId1"/>
            </p:custDataLst>
          </p:nvPr>
        </p:nvSpPr>
        <p:spPr>
          <a:xfrm>
            <a:off x="408468" y="138474"/>
            <a:ext cx="8971922" cy="572821"/>
          </a:xfrm>
          <a:prstGeom prst="rect">
            <a:avLst/>
          </a:prstGeom>
        </p:spPr>
        <p:txBody>
          <a:bodyPr vert="horz" wrap="square" lIns="0" tIns="107005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319" algn="ctr"/>
            <a:r>
              <a:rPr lang="ru-RU" sz="2300" b="1" dirty="0" smtClean="0">
                <a:solidFill>
                  <a:prstClr val="white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Об объемах предоставленных услуг за 1 полугодие 2019 года  и</a:t>
            </a:r>
          </a:p>
          <a:p>
            <a:pPr marL="10319" algn="ctr"/>
            <a:r>
              <a:rPr lang="ru-RU" sz="2300" b="1" dirty="0" smtClean="0">
                <a:solidFill>
                  <a:prstClr val="white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1 полугодие 2020 года</a:t>
            </a:r>
            <a:endParaRPr lang="ru-RU" sz="2300" b="1" dirty="0">
              <a:solidFill>
                <a:prstClr val="white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3138359"/>
              </p:ext>
            </p:extLst>
          </p:nvPr>
        </p:nvGraphicFramePr>
        <p:xfrm>
          <a:off x="763467" y="1091190"/>
          <a:ext cx="8470183" cy="4393034"/>
        </p:xfrm>
        <a:graphic>
          <a:graphicData uri="http://schemas.openxmlformats.org/drawingml/2006/table">
            <a:tbl>
              <a:tblPr bandCol="1"/>
              <a:tblGrid>
                <a:gridCol w="24608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203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99301"/>
                <a:gridCol w="117013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03219"/>
                <a:gridCol w="131631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59594">
                <a:tc>
                  <a:txBody>
                    <a:bodyPr/>
                    <a:lstStyle/>
                    <a:p>
                      <a:pPr marL="0" lvl="1" indent="0"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endParaRPr lang="ru-RU" sz="1600" b="0" i="0" u="none" strike="noStrike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lvl="1" indent="0" algn="ctr" rtl="0" fontAlgn="ctr"/>
                      <a:r>
                        <a:rPr lang="ru-RU" sz="16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д</a:t>
                      </a:r>
                      <a:r>
                        <a:rPr lang="ru-RU" sz="1600" b="0" i="1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изм.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Факт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 полугодие</a:t>
                      </a: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019 г.</a:t>
                      </a: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лан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 полугодие</a:t>
                      </a: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полугодие</a:t>
                      </a: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 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% к плану 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 факту 2019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18659">
                <a:tc>
                  <a:txBody>
                    <a:bodyPr/>
                    <a:lstStyle/>
                    <a:p>
                      <a:pPr marL="0" lvl="1" indent="0" algn="ctr" rtl="0" fontAlgn="ctr">
                        <a:tabLst>
                          <a:tab pos="176213" algn="l"/>
                        </a:tabLst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рузооборот всего</a:t>
                      </a: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млн. ткм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2 640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9 598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1 225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1,8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8,5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202944">
                <a:tc>
                  <a:txBody>
                    <a:bodyPr/>
                    <a:lstStyle/>
                    <a:p>
                      <a:pPr marL="0" lvl="1" indent="0" algn="ctr" rtl="0" fontAlgn="ctr">
                        <a:tabLst>
                          <a:tab pos="0" algn="l"/>
                        </a:tabLst>
                      </a:pPr>
                      <a:r>
                        <a:rPr lang="ru-RU" sz="16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 по сообщениям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:</a:t>
                      </a:r>
                    </a:p>
                    <a:p>
                      <a:pPr marL="0" lvl="1" indent="0" algn="ctr" rtl="0" fontAlgn="ctr">
                        <a:tabLst>
                          <a:tab pos="0" algn="l"/>
                        </a:tabLst>
                      </a:pP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о внутриреспублик.</a:t>
                      </a:r>
                    </a:p>
                    <a:p>
                      <a:pPr marL="0" lvl="1" indent="0" algn="ctr" rtl="0" fontAlgn="ctr">
                        <a:tabLst>
                          <a:tab pos="0" algn="l"/>
                        </a:tabLst>
                      </a:pP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экспортном</a:t>
                      </a:r>
                    </a:p>
                    <a:p>
                      <a:pPr marL="0" lvl="1" indent="0" algn="ctr" rtl="0" fontAlgn="ctr">
                        <a:tabLst>
                          <a:tab pos="0" algn="l"/>
                        </a:tabLst>
                      </a:pP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импортном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4 786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8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023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 831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3 233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6 978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 387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3 146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8 758</a:t>
                      </a:r>
                      <a:endParaRPr lang="ru-RU" sz="16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 321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9,8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4,8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9,3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6,3</a:t>
                      </a: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1,9</a:t>
                      </a:r>
                      <a:endParaRPr lang="ru-RU" sz="16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4,8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9982">
                <a:tc>
                  <a:txBody>
                    <a:bodyPr/>
                    <a:lstStyle/>
                    <a:p>
                      <a:pPr marL="0" lvl="1" indent="0" algn="ctr" defTabSz="914400" rtl="0" eaLnBrk="1" fontAlgn="ctr" latinLnBrk="0" hangingPunct="1"/>
                      <a:r>
                        <a:rPr lang="ru-RU" sz="16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бег пассажирских вагонов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</a:t>
                      </a:r>
                    </a:p>
                    <a:p>
                      <a:pPr marL="0" lvl="1" indent="0" algn="ctr" defTabSz="914400" rtl="0" eaLnBrk="1" fontAlgn="ctr" latinLnBrk="0" hangingPunct="1"/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(тыс. ваг.км)</a:t>
                      </a:r>
                      <a:endParaRPr lang="ru-RU" sz="16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73 871</a:t>
                      </a: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47 203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21 309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89,5</a:t>
                      </a: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59,2</a:t>
                      </a: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" name="Номер слайда 2"/>
          <p:cNvSpPr txBox="1">
            <a:spLocks/>
          </p:cNvSpPr>
          <p:nvPr/>
        </p:nvSpPr>
        <p:spPr>
          <a:xfrm>
            <a:off x="9271000" y="6483404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9B229C6-4CB7-4715-9D33-C1CA5325DEB0}" type="slidenum">
              <a:rPr lang="ru-RU" sz="14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r"/>
              <a:t>4</a:t>
            </a:fld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2416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"/>
          <p:cNvSpPr txBox="1">
            <a:spLocks/>
          </p:cNvSpPr>
          <p:nvPr>
            <p:custDataLst>
              <p:custData r:id="rId1"/>
            </p:custDataLst>
          </p:nvPr>
        </p:nvSpPr>
        <p:spPr>
          <a:xfrm>
            <a:off x="70337" y="30480"/>
            <a:ext cx="9759462" cy="707430"/>
          </a:xfrm>
          <a:prstGeom prst="rect">
            <a:avLst/>
          </a:prstGeom>
        </p:spPr>
        <p:txBody>
          <a:bodyPr vert="horz" wrap="square" lIns="0" tIns="107005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0319" algn="ctr"/>
            <a:r>
              <a:rPr lang="ru-RU" sz="2300" b="1" dirty="0" smtClean="0">
                <a:solidFill>
                  <a:prstClr val="white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Основные финансово-экономические показатели </a:t>
            </a:r>
          </a:p>
          <a:p>
            <a:pPr marL="10319" algn="ctr"/>
            <a:r>
              <a:rPr lang="ru-RU" sz="2300" b="1" dirty="0" smtClean="0">
                <a:solidFill>
                  <a:prstClr val="white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монопольной деятельности за 1 полугодие 2020 года, </a:t>
            </a:r>
            <a:r>
              <a:rPr lang="ru-RU" sz="2300" i="1" dirty="0" smtClean="0">
                <a:solidFill>
                  <a:prstClr val="white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тыс. тенге</a:t>
            </a:r>
            <a:endParaRPr lang="ru-RU" sz="2300" i="1" dirty="0">
              <a:solidFill>
                <a:prstClr val="white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417685"/>
              </p:ext>
            </p:extLst>
          </p:nvPr>
        </p:nvGraphicFramePr>
        <p:xfrm>
          <a:off x="662531" y="1268760"/>
          <a:ext cx="8910846" cy="4625135"/>
        </p:xfrm>
        <a:graphic>
          <a:graphicData uri="http://schemas.openxmlformats.org/drawingml/2006/table">
            <a:tbl>
              <a:tblPr/>
              <a:tblGrid>
                <a:gridCol w="172019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0223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5021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1695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21245"/>
              </a:tblGrid>
              <a:tr h="1477106">
                <a:tc>
                  <a:txBody>
                    <a:bodyPr/>
                    <a:lstStyle/>
                    <a:p>
                      <a:pPr marL="0" lvl="1" indent="0"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Услуги магистральной железнодорожной сети</a:t>
                      </a: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луги подъездных путей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луги по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ередаче электрической энергии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71166">
                <a:tc>
                  <a:txBody>
                    <a:bodyPr/>
                    <a:lstStyle/>
                    <a:p>
                      <a:pPr marL="0" lvl="1" indent="0"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marL="0" lvl="1" indent="0" algn="ctr" rtl="0" fontAlgn="ctr"/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15 982 153</a:t>
                      </a: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4 695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839 624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16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846 472</a:t>
                      </a:r>
                      <a:endParaRPr lang="ru-RU" sz="16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70331">
                <a:tc>
                  <a:txBody>
                    <a:bodyPr/>
                    <a:lstStyle/>
                    <a:p>
                      <a:pPr marL="0" lvl="1" indent="0" algn="ctr" defTabSz="914400" rtl="0" eaLnBrk="1" fontAlgn="ctr" latinLnBrk="0" hangingPunct="1"/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СХОДЫ 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                           </a:t>
                      </a:r>
                      <a:endParaRPr lang="ru-RU" sz="16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52 769 447</a:t>
                      </a: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0 165</a:t>
                      </a: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1 068</a:t>
                      </a:r>
                      <a:r>
                        <a:rPr lang="ru-RU" sz="1600" b="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 525</a:t>
                      </a: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153</a:t>
                      </a:r>
                      <a:r>
                        <a:rPr lang="ru-RU" sz="1600" b="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 858 137</a:t>
                      </a:r>
                      <a:endParaRPr lang="ru-RU" sz="1600" b="0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4549" marR="4549" marT="559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106532">
                <a:tc>
                  <a:txBody>
                    <a:bodyPr/>
                    <a:lstStyle/>
                    <a:p>
                      <a:pPr marL="0" lvl="1" indent="0" algn="ctr" rtl="0" fontAlgn="ctr"/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(36</a:t>
                      </a: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 787 294)</a:t>
                      </a:r>
                      <a:endParaRPr lang="ru-RU" sz="1600" b="1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7739" marR="7739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4 530</a:t>
                      </a:r>
                      <a:endParaRPr lang="ru-RU" sz="1600" b="1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7739" marR="7739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(228 901)</a:t>
                      </a:r>
                      <a:endParaRPr lang="ru-RU" sz="1600" b="1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7739" marR="7739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(37</a:t>
                      </a:r>
                      <a:r>
                        <a:rPr lang="ru-RU" sz="16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anose="020F0502020204030204" pitchFamily="34" charset="0"/>
                          <a:cs typeface="Times New Roman" pitchFamily="18" charset="0"/>
                        </a:rPr>
                        <a:t> 011 665)</a:t>
                      </a:r>
                      <a:endParaRPr lang="ru-RU" sz="1600" b="1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7739" marR="7739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" name="Номер слайда 2"/>
          <p:cNvSpPr txBox="1">
            <a:spLocks/>
          </p:cNvSpPr>
          <p:nvPr/>
        </p:nvSpPr>
        <p:spPr>
          <a:xfrm>
            <a:off x="9271000" y="648339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9B229C6-4CB7-4715-9D33-C1CA5325DEB0}" type="slidenum">
              <a:rPr lang="ru-RU" sz="14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r"/>
              <a:t>5</a:t>
            </a:fld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01898" y="5052386"/>
            <a:ext cx="131478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algn="ctr" font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РИБЫЛЬ/</a:t>
            </a:r>
          </a:p>
          <a:p>
            <a:pPr marL="0" lvl="1" algn="ctr" font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УБЫТОК</a:t>
            </a:r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83620" y="3075113"/>
            <a:ext cx="110017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952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09955" y="2279297"/>
            <a:ext cx="88626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itchFamily="18" charset="0"/>
                <a:ea typeface="+mj-ea"/>
                <a:cs typeface="Times New Roman" pitchFamily="18" charset="0"/>
              </a:rPr>
              <a:t>УСЛУГИ МАГИСТРАЛЬНОЙ ЖЕЛЕЗНОДОРОЖНОЙ СЕТИ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77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9130" y="19268"/>
            <a:ext cx="973015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чет об исполнении тарифной сметы на регулируемые услуги МЖС </a:t>
            </a:r>
          </a:p>
          <a:p>
            <a:pPr algn="ctr"/>
            <a:r>
              <a:rPr lang="ru-RU" sz="2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 1 полугодие 2020 года</a:t>
            </a:r>
            <a:endParaRPr lang="ru-RU" sz="2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063578"/>
              </p:ext>
            </p:extLst>
          </p:nvPr>
        </p:nvGraphicFramePr>
        <p:xfrm>
          <a:off x="79130" y="553916"/>
          <a:ext cx="9730153" cy="6239660"/>
        </p:xfrm>
        <a:graphic>
          <a:graphicData uri="http://schemas.openxmlformats.org/drawingml/2006/table">
            <a:tbl>
              <a:tblPr/>
              <a:tblGrid>
                <a:gridCol w="547648"/>
                <a:gridCol w="4492010"/>
                <a:gridCol w="695232"/>
                <a:gridCol w="1010404"/>
                <a:gridCol w="1242146"/>
                <a:gridCol w="1010743"/>
                <a:gridCol w="731970"/>
              </a:tblGrid>
              <a:tr h="335206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19981" marR="1998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19981" marR="1998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19981" marR="1998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19981" marR="1998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0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№ п/п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Наименование показателей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Ед. изм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лан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20г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Факт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 пол 2020г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«+,-»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%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 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1922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I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Затраты на производство товаров и предоставление услуг, всего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тыс.тг.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58 041 62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5 759 766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32 281 862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9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24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Материальные затраты, всего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4 033 15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 126 13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24 907 02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.1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6700" indent="0"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 материалы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2 637 98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 173 10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8 464 88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8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.2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6700" indent="0" algn="l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топливо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 372 72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 681 33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2 691 38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0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.3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электроэнергия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 022 45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 271 70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3 750 75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8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24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Затраты на оплату труда , всего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4 116 19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1 711 85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82 404 33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4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.1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6700" indent="0"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заработная плат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0 996 60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6 561 16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74 435 44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3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.2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социальный налог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3 119 58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 150 69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7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968 89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9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93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Амортизация основных средств и нематериальных активо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7 378 90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 248 85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40 130 05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0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Ремонт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38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37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7 33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8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96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6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очие затраты, всего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2 274 99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7 395 58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5 120 58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47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.1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оплата 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работ и услуг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1 958 08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2 303 78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0 345 70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93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306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.2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очие </a:t>
                      </a:r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затраты, всего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0 316 91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 091 80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5 225 11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9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II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Расходы периода, всего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6 618 48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 009 681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9 608 799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4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Общие и административные расходы, всего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4 060 50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9 044 296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5 016 20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6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975" indent="85725"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заработная плата административного персонал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3 074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49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 480 08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6 594 41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0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социальный налог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 294 37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42 37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551 99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7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налоги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 186 01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 299 30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2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886 71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6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очие, всего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 505 62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 522 54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4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983 08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4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4.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амортизация основных средств и нематериальных активов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 169 67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02 00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 367 66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7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2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4.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услуги сторонних организаций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49 39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85 70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36 31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5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4.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ремонт</a:t>
                      </a:r>
                      <a:endParaRPr lang="ru-RU" sz="1000" b="0" i="1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09 74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09 74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0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4.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аудиторские, консалтинговые и </a:t>
                      </a:r>
                      <a:r>
                        <a:rPr lang="ru-RU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информационные  </a:t>
                      </a:r>
                      <a:r>
                        <a:rPr lang="ru-RU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услуги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52 53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32 25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20 27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2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2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4.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командировочные расходы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96 67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40 57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756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10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6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2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4.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едставительские расходы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1 15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 941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2 213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2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6.4.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266700" algn="l" fontAlgn="ctr"/>
                      <a:r>
                        <a:rPr lang="ru-RU" sz="1000" b="0" i="1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другие расходы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 506 45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53 05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2 753 40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1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2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Расходы на выплату вознаграждения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57 97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7 965 38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 407 40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311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III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Всего затра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94 660 10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52 769 447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41 890 661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52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24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IV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Всего 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доходов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16 417 148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15 982 153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300 434 995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8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Прибыль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//-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121 757 04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36 787 294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58 544 334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30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VI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Грузооборот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млн.т-км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11 677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91 22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120 452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43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9045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бъем (пробег пассажирских вагонов)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тыс.ваг.км</a:t>
                      </a: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830 144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21 309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-608 835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27%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19981" marR="1998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5" name="Номер слайда 2"/>
          <p:cNvSpPr txBox="1">
            <a:spLocks/>
          </p:cNvSpPr>
          <p:nvPr/>
        </p:nvSpPr>
        <p:spPr>
          <a:xfrm>
            <a:off x="9366000" y="662589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026198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476500" y="2644170"/>
            <a:ext cx="4953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10319" algn="ctr"/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сновные финансово-экономические показатели монопольной деятельности  за 2019 год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75846" y="4449"/>
            <a:ext cx="97301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Отчет об исполнении инвестиционной программы на услуги МЖС </a:t>
            </a:r>
          </a:p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за первое полугодие 2020 года</a:t>
            </a:r>
            <a:endParaRPr lang="ru-RU" sz="23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4645608"/>
              </p:ext>
            </p:extLst>
          </p:nvPr>
        </p:nvGraphicFramePr>
        <p:xfrm>
          <a:off x="95152" y="1195933"/>
          <a:ext cx="9715695" cy="3969832"/>
        </p:xfrm>
        <a:graphic>
          <a:graphicData uri="http://schemas.openxmlformats.org/drawingml/2006/table">
            <a:tbl>
              <a:tblPr/>
              <a:tblGrid>
                <a:gridCol w="281113"/>
                <a:gridCol w="122499"/>
                <a:gridCol w="6204187"/>
                <a:gridCol w="1391478"/>
                <a:gridCol w="1716418"/>
              </a:tblGrid>
              <a:tr h="901057"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п/п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полнение</a:t>
                      </a:r>
                      <a:r>
                        <a:rPr lang="ru-RU" sz="16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600" b="1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 rtl="0" fontAlgn="ctr"/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 1 полугодие 2020 год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5862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умм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2100"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гулируемая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слуга магистральной железнодорожной сети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C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36084">
                <a:tc>
                  <a:txBody>
                    <a:bodyPr/>
                    <a:lstStyle/>
                    <a:p>
                      <a:pPr algn="ctr" rtl="0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2075" indent="0" algn="l" rtl="0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 по АО "НК "КТЖ", в т.ч.: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  <a:r>
                        <a:rPr lang="en-US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30</a:t>
                      </a:r>
                      <a:r>
                        <a:rPr lang="en-US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3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4565">
                <a:tc>
                  <a:txBody>
                    <a:bodyPr/>
                    <a:lstStyle/>
                    <a:p>
                      <a:pPr algn="ctr" rtl="0" fontAlgn="ctr"/>
                      <a:endParaRPr lang="ru-RU" sz="1600" b="0" i="0" u="sng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sng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бственные средств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sng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 030 631</a:t>
                      </a:r>
                      <a:endParaRPr lang="ru-RU" sz="1600" b="0" i="0" u="sng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2374"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2075" indent="0" algn="l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дернизация верхнего строения пути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61 км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 648 01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255" marR="7255" marT="669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3895"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2075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бновление объектов 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ля</a:t>
                      </a: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функционирования МЖС</a:t>
                      </a:r>
                    </a:p>
                  </a:txBody>
                  <a:tcPr marL="7255" marR="7255" marT="669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255" marR="7255" marT="669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171 42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255" marR="7255" marT="669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413895">
                <a:tc>
                  <a:txBody>
                    <a:bodyPr/>
                    <a:lstStyle/>
                    <a:p>
                      <a:pPr algn="ctr" rtl="0" fontAlgn="ctr"/>
                      <a:r>
                        <a:rPr lang="kk-KZ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207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Цифровизация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и автоматизация деятельности МЖС</a:t>
                      </a:r>
                      <a:endParaRPr lang="ru-RU" sz="1600" b="0" i="0" u="none" strike="noStrike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11 195</a:t>
                      </a:r>
                      <a:endParaRPr lang="ru-RU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255" marR="7255" marT="669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Номер слайда 2"/>
          <p:cNvSpPr txBox="1">
            <a:spLocks/>
          </p:cNvSpPr>
          <p:nvPr/>
        </p:nvSpPr>
        <p:spPr>
          <a:xfrm>
            <a:off x="9271000" y="648339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8</a:t>
            </a:r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385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9" name="TextBox 13"/>
          <p:cNvSpPr txBox="1">
            <a:spLocks noChangeArrowheads="1"/>
          </p:cNvSpPr>
          <p:nvPr/>
        </p:nvSpPr>
        <p:spPr bwMode="auto">
          <a:xfrm>
            <a:off x="1657304" y="812529"/>
            <a:ext cx="177099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600" b="1" dirty="0">
                <a:solidFill>
                  <a:prstClr val="black"/>
                </a:solidFill>
                <a:cs typeface="Times New Roman" pitchFamily="18" charset="0"/>
              </a:rPr>
              <a:t>За </a:t>
            </a:r>
            <a:r>
              <a:rPr lang="ru-RU" sz="1600" b="1" dirty="0" smtClean="0">
                <a:solidFill>
                  <a:prstClr val="black"/>
                </a:solidFill>
                <a:cs typeface="Times New Roman" pitchFamily="18" charset="0"/>
              </a:rPr>
              <a:t>2018 год </a:t>
            </a:r>
          </a:p>
          <a:p>
            <a:pPr algn="ctr" eaLnBrk="1" hangingPunct="1"/>
            <a:r>
              <a:rPr lang="ru-RU" sz="1600" dirty="0">
                <a:solidFill>
                  <a:prstClr val="black"/>
                </a:solidFill>
                <a:cs typeface="Times New Roman" pitchFamily="18" charset="0"/>
              </a:rPr>
              <a:t>(всего </a:t>
            </a:r>
            <a:r>
              <a:rPr lang="ru-RU" sz="1600" dirty="0" smtClean="0">
                <a:solidFill>
                  <a:prstClr val="black"/>
                </a:solidFill>
                <a:cs typeface="Times New Roman" pitchFamily="18" charset="0"/>
              </a:rPr>
              <a:t>90 случаев)</a:t>
            </a:r>
            <a:endParaRPr lang="ru-RU" sz="1600" b="1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auto">
          <a:xfrm>
            <a:off x="0" y="119270"/>
            <a:ext cx="9906000" cy="544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r>
              <a:rPr lang="ru-RU" sz="2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рушение безопасности движения</a:t>
            </a:r>
          </a:p>
          <a:p>
            <a:pPr algn="ctr">
              <a:defRPr/>
            </a:pPr>
            <a:r>
              <a:rPr lang="ru-RU" sz="2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 1 полугодие в период с 201</a:t>
            </a:r>
            <a:r>
              <a:rPr lang="en-US" sz="2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2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года по 2020 год</a:t>
            </a:r>
            <a:r>
              <a:rPr lang="en-US" sz="2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3348825"/>
              </p:ext>
            </p:extLst>
          </p:nvPr>
        </p:nvGraphicFramePr>
        <p:xfrm>
          <a:off x="891031" y="4767912"/>
          <a:ext cx="8072215" cy="18280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5331"/>
                <a:gridCol w="1681924"/>
                <a:gridCol w="1737480"/>
                <a:gridCol w="1737480"/>
              </a:tblGrid>
              <a:tr h="17486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рушения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 полугодие</a:t>
                      </a:r>
                    </a:p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018 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 полугодие </a:t>
                      </a:r>
                    </a:p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019 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1 полугодие </a:t>
                      </a:r>
                    </a:p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2020 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го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4865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НБ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НБ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 НБ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486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рушение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486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бытия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7486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циденты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93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 НБД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711" marR="7711" marT="711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5227580"/>
              </p:ext>
            </p:extLst>
          </p:nvPr>
        </p:nvGraphicFramePr>
        <p:xfrm>
          <a:off x="33890" y="842207"/>
          <a:ext cx="9237110" cy="3927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13"/>
          <p:cNvSpPr txBox="1">
            <a:spLocks noChangeArrowheads="1"/>
          </p:cNvSpPr>
          <p:nvPr/>
        </p:nvSpPr>
        <p:spPr bwMode="auto">
          <a:xfrm>
            <a:off x="4360610" y="812529"/>
            <a:ext cx="177099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600" b="1" dirty="0" smtClean="0">
                <a:solidFill>
                  <a:prstClr val="black"/>
                </a:solidFill>
                <a:cs typeface="Times New Roman" pitchFamily="18" charset="0"/>
              </a:rPr>
              <a:t> 2019 год </a:t>
            </a:r>
          </a:p>
          <a:p>
            <a:pPr eaLnBrk="1" hangingPunct="1"/>
            <a:r>
              <a:rPr lang="ru-RU" sz="1600" dirty="0">
                <a:solidFill>
                  <a:prstClr val="black"/>
                </a:solidFill>
                <a:cs typeface="Times New Roman" pitchFamily="18" charset="0"/>
              </a:rPr>
              <a:t>(всего 8</a:t>
            </a:r>
            <a:r>
              <a:rPr lang="ru-RU" sz="1600" dirty="0" smtClean="0">
                <a:solidFill>
                  <a:prstClr val="black"/>
                </a:solidFill>
                <a:cs typeface="Times New Roman" pitchFamily="18" charset="0"/>
              </a:rPr>
              <a:t>8 </a:t>
            </a:r>
            <a:r>
              <a:rPr lang="ru-RU" sz="1600" dirty="0">
                <a:solidFill>
                  <a:prstClr val="black"/>
                </a:solidFill>
                <a:cs typeface="Times New Roman" pitchFamily="18" charset="0"/>
              </a:rPr>
              <a:t>случаев</a:t>
            </a:r>
            <a:r>
              <a:rPr lang="ru-RU" sz="1600" dirty="0" smtClean="0">
                <a:solidFill>
                  <a:prstClr val="black"/>
                </a:solidFill>
                <a:cs typeface="Times New Roman" pitchFamily="18" charset="0"/>
              </a:rPr>
              <a:t>)</a:t>
            </a:r>
            <a:endParaRPr lang="ru-RU" sz="1600" b="1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>
          <a:xfrm>
            <a:off x="9271000" y="6483392"/>
            <a:ext cx="63132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9</a:t>
            </a:r>
            <a:endParaRPr 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3"/>
          <p:cNvSpPr txBox="1">
            <a:spLocks noChangeArrowheads="1"/>
          </p:cNvSpPr>
          <p:nvPr/>
        </p:nvSpPr>
        <p:spPr bwMode="auto">
          <a:xfrm>
            <a:off x="7128440" y="842207"/>
            <a:ext cx="167802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600" b="1" dirty="0" smtClean="0">
                <a:solidFill>
                  <a:prstClr val="black"/>
                </a:solidFill>
                <a:cs typeface="Times New Roman" pitchFamily="18" charset="0"/>
              </a:rPr>
              <a:t>2020 год </a:t>
            </a:r>
          </a:p>
          <a:p>
            <a:pPr eaLnBrk="1" hangingPunct="1"/>
            <a:r>
              <a:rPr lang="ru-RU" sz="1600" dirty="0">
                <a:solidFill>
                  <a:prstClr val="black"/>
                </a:solidFill>
                <a:cs typeface="Times New Roman" pitchFamily="18" charset="0"/>
              </a:rPr>
              <a:t>(всего </a:t>
            </a:r>
            <a:r>
              <a:rPr lang="ru-RU" sz="1600" dirty="0" smtClean="0">
                <a:solidFill>
                  <a:prstClr val="black"/>
                </a:solidFill>
                <a:cs typeface="Times New Roman" pitchFamily="18" charset="0"/>
              </a:rPr>
              <a:t>74 случая)</a:t>
            </a:r>
            <a:endParaRPr lang="ru-RU" sz="1600" b="1" dirty="0">
              <a:solidFill>
                <a:prstClr val="black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65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Тема Office">
  <a:themeElements>
    <a:clrScheme name="Базовая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
</file>

<file path=customXml/item2.xml>
</file>

<file path=customXml/item3.xml>
</file>

<file path=customXml/item4.xml>
</file>

<file path=customXml/item5.xml>
</file>

<file path=customXml/item6.xml>
</file>

<file path=customXml/item7.xml>
</file>

<file path=customXml/itemProps1.xml><?xml version="1.0" encoding="utf-8"?>
<ds:datastoreItem xmlns:ds="http://schemas.openxmlformats.org/officeDocument/2006/customXml" ds:itemID="{FFAC9193-5648-4AB3-A7A7-3A855C0EF1B3}"/>
</file>

<file path=customXml/itemProps2.xml><?xml version="1.0" encoding="utf-8"?>
<ds:datastoreItem xmlns:ds="http://schemas.openxmlformats.org/officeDocument/2006/customXml" ds:itemID="{7C8F6389-2A61-4EE3-B98D-3E3B49847B06}"/>
</file>

<file path=customXml/itemProps3.xml><?xml version="1.0" encoding="utf-8"?>
<ds:datastoreItem xmlns:ds="http://schemas.openxmlformats.org/officeDocument/2006/customXml" ds:itemID="{BAD25FF1-99BF-48C2-A887-6E7DE6EEC364}"/>
</file>

<file path=customXml/itemProps4.xml><?xml version="1.0" encoding="utf-8"?>
<ds:datastoreItem xmlns:ds="http://schemas.openxmlformats.org/officeDocument/2006/customXml" ds:itemID="{3F8F4BA4-4D9E-430E-9A15-E07E70484AF0}"/>
</file>

<file path=customXml/itemProps5.xml><?xml version="1.0" encoding="utf-8"?>
<ds:datastoreItem xmlns:ds="http://schemas.openxmlformats.org/officeDocument/2006/customXml" ds:itemID="{8134D411-2BAC-4514-A8E3-DC1DBFF197A7}"/>
</file>

<file path=customXml/itemProps6.xml><?xml version="1.0" encoding="utf-8"?>
<ds:datastoreItem xmlns:ds="http://schemas.openxmlformats.org/officeDocument/2006/customXml" ds:itemID="{1C2A8C93-CE35-407F-BFCA-F13FA39A815C}"/>
</file>

<file path=customXml/itemProps7.xml><?xml version="1.0" encoding="utf-8"?>
<ds:datastoreItem xmlns:ds="http://schemas.openxmlformats.org/officeDocument/2006/customXml" ds:itemID="{00FDA56C-5ED9-42AD-9904-FEEC23617178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21</TotalTime>
  <Words>1332</Words>
  <Application>Microsoft Office PowerPoint</Application>
  <PresentationFormat>Лист A4 (210x297 мм)</PresentationFormat>
  <Paragraphs>440</Paragraphs>
  <Slides>13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9" baseType="lpstr">
      <vt:lpstr>Тема Office</vt:lpstr>
      <vt:lpstr>1_Тема Office</vt:lpstr>
      <vt:lpstr>3_Тема Office</vt:lpstr>
      <vt:lpstr>6_Тема Office</vt:lpstr>
      <vt:lpstr>2_Тема Office</vt:lpstr>
      <vt:lpstr>Слайд think-cell</vt:lpstr>
      <vt:lpstr>АО «НК «Қазақстан темір жолы»   ИТОГИ ДЕЯТЕЛЬНОСТИ  ЗА ПЕРВОЕ ПОЛУГОДИЕ 2020 ГОДА И ОСНОВНЫЕ ЗАДАЧИ  НА ВТОРОЕ ПОЛУГОДИЕ 2020 ГОДА      Нур-Султан 29.07.2020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ашкенова М.К.</dc:creator>
  <cp:lastModifiedBy>Гульмира T Рахимбекова</cp:lastModifiedBy>
  <cp:revision>368</cp:revision>
  <cp:lastPrinted>2020-02-14T11:13:25Z</cp:lastPrinted>
  <dcterms:created xsi:type="dcterms:W3CDTF">2020-01-28T07:53:37Z</dcterms:created>
  <dcterms:modified xsi:type="dcterms:W3CDTF">2020-07-22T20:05:33Z</dcterms:modified>
</cp:coreProperties>
</file>